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 Jan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lnSpc>
                  <a:spcPct val="150000"/>
                </a:lnSpc>
                <a:spcBef>
                  <a:spcPct val="20000"/>
                </a:spcBef>
                <a:spcAft>
                  <a:spcPct val="10000"/>
                </a:spcAft>
                <a:buClr>
                  <a:schemeClr val="folHlink"/>
                </a:buClr>
              </a:pPr>
              <a:r>
                <a:rPr lang="en-GB" altLang="de-DE" sz="14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NUTZEN UND VORTEILE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BESCHREIBUNG 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de-DE" noProof="1"/>
              <a:t>Steigern Sie die Effizienz Ihrer Geräte und sichern Sie die Produktqualität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noProof="1"/>
              <a:t>Ofenluftkühlsystem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159A1C1-3134-4A3E-87A8-76ED53AE67C3}"/>
              </a:ext>
            </a:extLst>
          </p:cNvPr>
          <p:cNvSpPr txBox="1">
            <a:spLocks/>
          </p:cNvSpPr>
          <p:nvPr/>
        </p:nvSpPr>
        <p:spPr>
          <a:xfrm>
            <a:off x="651885" y="589297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tzen: Effizienz, </a:t>
            </a:r>
            <a:r>
              <a:rPr lang="en-GB" altLang="fr-FR" sz="800" dirty="0" err="1">
                <a:solidFill>
                  <a:srgbClr val="000000"/>
                </a:solidFill>
              </a:rPr>
              <a:t>Produktqualitä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stattung: </a:t>
            </a:r>
            <a:r>
              <a:rPr lang="fr-FR" sz="800" kern="0" dirty="0">
                <a:solidFill>
                  <a:srgbClr val="000000"/>
                </a:solidFill>
              </a:rPr>
              <a:t>MATRIX </a:t>
            </a:r>
            <a:r>
              <a:rPr lang="en-GB" altLang="fr-FR" sz="800" dirty="0">
                <a:solidFill>
                  <a:srgbClr val="000000"/>
                </a:solidFill>
              </a:rPr>
              <a:t>- </a:t>
            </a:r>
            <a:r>
              <a:rPr lang="en-GB" altLang="fr-FR" sz="800" dirty="0" err="1">
                <a:solidFill>
                  <a:srgbClr val="000000"/>
                </a:solidFill>
              </a:rPr>
              <a:t>Blasmaschinen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alog-Code: 2055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99C7DC8-D382-45DA-8045-8C3BF4101B8D}"/>
              </a:ext>
            </a:extLst>
          </p:cNvPr>
          <p:cNvSpPr/>
          <p:nvPr/>
        </p:nvSpPr>
        <p:spPr>
          <a:xfrm>
            <a:off x="4760867" y="2160646"/>
            <a:ext cx="3863443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100" dirty="0"/>
              <a:t>Die Komponenten des Ofenluftkühlsystems: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100" dirty="0"/>
              <a:t>ein Luft / Wasser-Wärmetauscher (Kühler) vor der Ofenbelüftung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100" dirty="0"/>
              <a:t>ein 3-Wege-Ventil, das die Regulierung des Wasserflusses durch den Bypass ermöglicht (gesteuert durch einen Temperaturfühler)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100" dirty="0"/>
              <a:t>Die Temperatur wird vom HMI eingestellt</a:t>
            </a:r>
          </a:p>
          <a:p>
            <a:endParaRPr lang="de-DE" sz="1100" dirty="0"/>
          </a:p>
          <a:p>
            <a:r>
              <a:rPr lang="de-DE" sz="1100" dirty="0">
                <a:solidFill>
                  <a:srgbClr val="FF0000"/>
                </a:solidFill>
              </a:rPr>
              <a:t>Die Wasserversorgung des Wärmetauschers erfolgt über das Kaltwassernetz des Kunden.</a:t>
            </a:r>
            <a:endParaRPr lang="fr-FR" sz="1100" dirty="0">
              <a:solidFill>
                <a:srgbClr val="FF0000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8AFB7EA-0F98-4A36-BB23-40B03617BB0C}"/>
              </a:ext>
            </a:extLst>
          </p:cNvPr>
          <p:cNvSpPr/>
          <p:nvPr/>
        </p:nvSpPr>
        <p:spPr>
          <a:xfrm>
            <a:off x="642938" y="2233613"/>
            <a:ext cx="39624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Prozessflexibilität erhöhen (Prozessfenster erweitern)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Überhitzung des Ofens vermeiden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Sichere Flaschenhalsqualität</a:t>
            </a:r>
            <a:endParaRPr lang="en-GB" altLang="fr-FR" sz="1200" b="1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41BB1A8-FD7F-4C73-8005-299EF8BDC0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6656" y="4204795"/>
            <a:ext cx="3291863" cy="1527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712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33</TotalTime>
  <Words>91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SimSun</vt:lpstr>
      <vt:lpstr>Arial</vt:lpstr>
      <vt:lpstr>Wingdings</vt:lpstr>
      <vt:lpstr>NewSidel_Template_4x3_with add layouts</vt:lpstr>
      <vt:lpstr>think-cell Folie</vt:lpstr>
      <vt:lpstr>Steigern Sie die Effizienz Ihrer Geräte und sichern Sie die Produktqualitä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2</cp:revision>
  <dcterms:created xsi:type="dcterms:W3CDTF">2018-02-10T17:04:39Z</dcterms:created>
  <dcterms:modified xsi:type="dcterms:W3CDTF">2021-01-06T16:33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